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4"/>
  </p:notesMasterIdLst>
  <p:sldIdLst>
    <p:sldId id="303" r:id="rId5"/>
    <p:sldId id="262" r:id="rId6"/>
    <p:sldId id="306" r:id="rId7"/>
    <p:sldId id="314" r:id="rId8"/>
    <p:sldId id="257" r:id="rId9"/>
    <p:sldId id="269" r:id="rId10"/>
    <p:sldId id="287" r:id="rId11"/>
    <p:sldId id="317" r:id="rId12"/>
    <p:sldId id="315" r:id="rId13"/>
    <p:sldId id="261" r:id="rId14"/>
    <p:sldId id="296" r:id="rId15"/>
    <p:sldId id="304" r:id="rId16"/>
    <p:sldId id="307" r:id="rId17"/>
    <p:sldId id="318" r:id="rId18"/>
    <p:sldId id="291" r:id="rId19"/>
    <p:sldId id="274" r:id="rId20"/>
    <p:sldId id="300" r:id="rId21"/>
    <p:sldId id="286" r:id="rId22"/>
    <p:sldId id="292" r:id="rId23"/>
  </p:sldIdLst>
  <p:sldSz cx="9631363" cy="7223125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53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9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9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6.xml"/><Relationship Id="rId7" Type="http://schemas.openxmlformats.org/officeDocument/2006/relationships/image" Target="../media/image2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apcoronavirusupdates.collegeboard.org/educators/course-schedule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2 AP Statistics Multiple Choice #27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8D10187-E2C0-714C-A7B0-9F7582CAF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000" y="1851534"/>
            <a:ext cx="8681932" cy="381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6 Form B AP Statistics Free Response #4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221604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12213AD4-65F0-B346-A94F-96179BC5AA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4459" y="1342992"/>
            <a:ext cx="7331869" cy="4872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7 AP Statistics FRQ #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D074C6B5-B3A5-844A-BDBE-C900C1429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075" y="1751876"/>
            <a:ext cx="8380079" cy="397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4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7 AP Statistics FRQ #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82D63FA5-B197-B440-BFD5-0A12DDC9DB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726" y="1467853"/>
            <a:ext cx="8419439" cy="3209340"/>
          </a:xfrm>
          <a:prstGeom prst="rect">
            <a:avLst/>
          </a:prstGeom>
        </p:spPr>
      </p:pic>
      <p:pic>
        <p:nvPicPr>
          <p:cNvPr id="8" name="Picture 7" descr="A picture containing knife&#10;&#10;Description automatically generated">
            <a:extLst>
              <a:ext uri="{FF2B5EF4-FFF2-40B4-BE49-F238E27FC236}">
                <a16:creationId xmlns:a16="http://schemas.microsoft.com/office/drawing/2014/main" id="{28E055DC-6346-F146-B9A9-85064996FA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726" y="4567787"/>
            <a:ext cx="8419439" cy="1167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16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Confidence Intervals and Hypothesis Tests with Means (both one and two samples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other Inference Tests/Procedures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460606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3 Modified Free Response #2 Homework Problem Thursday 04/09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55800"/>
            <a:ext cx="8905698" cy="47019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icture containing photo, many, table, man&#10;&#10;Description automatically generated">
            <a:extLst>
              <a:ext uri="{FF2B5EF4-FFF2-40B4-BE49-F238E27FC236}">
                <a16:creationId xmlns:a16="http://schemas.microsoft.com/office/drawing/2014/main" id="{EFF31703-FAA5-D341-B674-E39C26EA1A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1538" y="1998655"/>
            <a:ext cx="8481660" cy="24233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AEE0FF2-61A8-1B4E-8D9B-F5F0E243F4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4851" y="4823881"/>
            <a:ext cx="8481660" cy="593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379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66790200-E4D8-944A-A740-DFB1F122E2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3025" y="1132126"/>
            <a:ext cx="7738686" cy="5706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4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000" dirty="0"/>
          </a:p>
          <a:p>
            <a:pPr algn="ctr"/>
            <a:r>
              <a:rPr lang="en-US" sz="2000" dirty="0">
                <a:hlinkClick r:id="rId9"/>
              </a:rPr>
              <a:t>https://apstudents.collegeboard.org/coronavirus-updat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  <a:hlinkClick r:id="rId10"/>
              </a:rPr>
              <a:t>https://apcoronavirusupdates.collegeboard.org/educators/course-schedule</a:t>
            </a:r>
            <a:endParaRPr lang="en-US" sz="2000" dirty="0">
              <a:solidFill>
                <a:srgbClr val="1E1E1E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1E1E1E"/>
              </a:solidFill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</a:rPr>
              <a:t>Scroll down to Math And Science, click on AP Statistics, Expand 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7.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D6C5EF48-15EE-4A47-9B34-CC80253218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2681" y="2942796"/>
            <a:ext cx="4826000" cy="3365500"/>
          </a:xfrm>
          <a:prstGeom prst="rect">
            <a:avLst/>
          </a:prstGeom>
        </p:spPr>
      </p:pic>
      <p:pic>
        <p:nvPicPr>
          <p:cNvPr id="5" name="Picture 4" descr="A picture containing object, clock&#10;&#10;Description automatically generated">
            <a:extLst>
              <a:ext uri="{FF2B5EF4-FFF2-40B4-BE49-F238E27FC236}">
                <a16:creationId xmlns:a16="http://schemas.microsoft.com/office/drawing/2014/main" id="{1974E7CD-3558-984C-9ABA-828F8F02F84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30757" y="1551851"/>
            <a:ext cx="3169848" cy="1212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7.9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24567"/>
            <a:ext cx="8905698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 descr="A picture containing table, bird&#10;&#10;Description automatically generated">
            <a:extLst>
              <a:ext uri="{FF2B5EF4-FFF2-40B4-BE49-F238E27FC236}">
                <a16:creationId xmlns:a16="http://schemas.microsoft.com/office/drawing/2014/main" id="{D2085543-F5D5-7B40-9332-C14083BD18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3564" y="1918117"/>
            <a:ext cx="7864234" cy="3772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944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87664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atterthwaite Formul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24567"/>
            <a:ext cx="8905698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EC82F254-2232-0544-836A-F8583D655D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7692" y="2113208"/>
            <a:ext cx="6150598" cy="334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6117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25957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21394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sz="2800" dirty="0">
                <a:solidFill>
                  <a:srgbClr val="1E1E1E"/>
                </a:solidFill>
                <a:latin typeface="Roboto"/>
              </a:rPr>
              <a:t>I always ask my students these four questions when doing Statistical Inference Problems:</a:t>
            </a:r>
          </a:p>
          <a:p>
            <a:endParaRPr lang="en-US" sz="2800" dirty="0">
              <a:solidFill>
                <a:srgbClr val="1E1E1E"/>
              </a:solidFill>
              <a:latin typeface="Roboto"/>
            </a:endParaRPr>
          </a:p>
          <a:p>
            <a:pPr marL="457200" indent="-457200">
              <a:buAutoNum type="arabicPeriod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Does this problem feel like a Confidence Interval or a Hypothesis Test?</a:t>
            </a:r>
          </a:p>
          <a:p>
            <a:pPr marL="457200" indent="-457200">
              <a:buAutoNum type="arabicPeriod" startAt="2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Do we have one sample or two samples?</a:t>
            </a:r>
          </a:p>
          <a:p>
            <a:pPr marL="457200" indent="-457200">
              <a:buAutoNum type="arabicPeriod" startAt="3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Are we dealing with proportions or means?</a:t>
            </a:r>
          </a:p>
          <a:p>
            <a:pPr marL="457200" indent="-457200">
              <a:buAutoNum type="arabicPeriod" startAt="3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Do we need to read a Z Table or a T Table?</a:t>
            </a:r>
          </a:p>
          <a:p>
            <a:pPr marL="457200" indent="-457200">
              <a:buAutoNum type="arabicPeriod" startAt="3"/>
            </a:pPr>
            <a:endParaRPr lang="en-US" sz="2800" dirty="0">
              <a:solidFill>
                <a:srgbClr val="1E1E1E"/>
              </a:solidFill>
              <a:latin typeface="Roboto"/>
            </a:endParaRPr>
          </a:p>
          <a:p>
            <a:pPr marL="457200" indent="-457200">
              <a:buAutoNum type="arabicPeriod" startAt="3"/>
            </a:pPr>
            <a:endParaRPr lang="en-US" sz="2800" dirty="0">
              <a:solidFill>
                <a:srgbClr val="1E1E1E"/>
              </a:solidFill>
              <a:latin typeface="Roboto"/>
            </a:endParaRPr>
          </a:p>
          <a:p>
            <a:r>
              <a:rPr lang="en-US" sz="2800" dirty="0">
                <a:solidFill>
                  <a:srgbClr val="1E1E1E"/>
                </a:solidFill>
                <a:latin typeface="Roboto"/>
              </a:rPr>
              <a:t>If we can answer these questions correctly if helps them to “name the test” and to get into the problem and hopefully solve it correctly.</a:t>
            </a:r>
          </a:p>
        </p:txBody>
      </p:sp>
    </p:spTree>
    <p:extLst>
      <p:ext uri="{BB962C8B-B14F-4D97-AF65-F5344CB8AC3E}">
        <p14:creationId xmlns:p14="http://schemas.microsoft.com/office/powerpoint/2010/main" val="2948387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469</TotalTime>
  <Words>348</Words>
  <Application>Microsoft Macintosh PowerPoint</Application>
  <PresentationFormat>Custom</PresentationFormat>
  <Paragraphs>234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-TOPIC 7.5</vt:lpstr>
      <vt:lpstr>WHAT YOU NEED TO KNOW-TOPIC 7.9</vt:lpstr>
      <vt:lpstr>Satterthwaite Formula</vt:lpstr>
      <vt:lpstr>WHAT YOU NEED TO KNOW</vt:lpstr>
      <vt:lpstr>PowerPoint Presentation</vt:lpstr>
      <vt:lpstr>2012 AP Statistics Multiple Choice #27</vt:lpstr>
      <vt:lpstr>2006 Form B AP Statistics Free Response #4 </vt:lpstr>
      <vt:lpstr>2007 AP Statistics FRQ #4</vt:lpstr>
      <vt:lpstr>2007 AP Statistics FRQ #4</vt:lpstr>
      <vt:lpstr>PowerPoint Presentation</vt:lpstr>
      <vt:lpstr>DEBRIEF AND SUMMARY</vt:lpstr>
      <vt:lpstr>2003 Modified Free Response #2 Homework Problem Thursday 04/09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91</cp:revision>
  <dcterms:created xsi:type="dcterms:W3CDTF">2019-04-30T21:25:41Z</dcterms:created>
  <dcterms:modified xsi:type="dcterms:W3CDTF">2020-04-09T13:13:46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